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4"/>
  </p:notesMasterIdLst>
  <p:handoutMasterIdLst>
    <p:handoutMasterId r:id="rId45"/>
  </p:handoutMasterIdLst>
  <p:sldIdLst>
    <p:sldId id="321" r:id="rId5"/>
    <p:sldId id="2145705986" r:id="rId6"/>
    <p:sldId id="304" r:id="rId7"/>
    <p:sldId id="2145705826" r:id="rId8"/>
    <p:sldId id="2145706150" r:id="rId9"/>
    <p:sldId id="2145706051" r:id="rId10"/>
    <p:sldId id="2145706052" r:id="rId11"/>
    <p:sldId id="2145706053" r:id="rId12"/>
    <p:sldId id="2145706110" r:id="rId13"/>
    <p:sldId id="2145706054" r:id="rId14"/>
    <p:sldId id="2145706132" r:id="rId15"/>
    <p:sldId id="2145706148" r:id="rId16"/>
    <p:sldId id="2145706133" r:id="rId17"/>
    <p:sldId id="2145706055" r:id="rId18"/>
    <p:sldId id="2145706059" r:id="rId19"/>
    <p:sldId id="2145706071" r:id="rId20"/>
    <p:sldId id="2145706139" r:id="rId21"/>
    <p:sldId id="2145706140" r:id="rId22"/>
    <p:sldId id="2145706070" r:id="rId23"/>
    <p:sldId id="2145706141" r:id="rId24"/>
    <p:sldId id="2145706074" r:id="rId25"/>
    <p:sldId id="2145706143" r:id="rId26"/>
    <p:sldId id="2145706088" r:id="rId27"/>
    <p:sldId id="2145706118" r:id="rId28"/>
    <p:sldId id="2145706119" r:id="rId29"/>
    <p:sldId id="2145706142" r:id="rId30"/>
    <p:sldId id="2145706089" r:id="rId31"/>
    <p:sldId id="2145706144" r:id="rId32"/>
    <p:sldId id="2145706112" r:id="rId33"/>
    <p:sldId id="2145706145" r:id="rId34"/>
    <p:sldId id="2145706084" r:id="rId35"/>
    <p:sldId id="2145706078" r:id="rId36"/>
    <p:sldId id="2145706079" r:id="rId37"/>
    <p:sldId id="2145706146" r:id="rId38"/>
    <p:sldId id="2145706087" r:id="rId39"/>
    <p:sldId id="2145706147" r:id="rId40"/>
    <p:sldId id="2145706149" r:id="rId41"/>
    <p:sldId id="2145706138" r:id="rId42"/>
    <p:sldId id="2145705823" r:id="rId43"/>
  </p:sldIdLst>
  <p:sldSz cx="12192000" cy="6858000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3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0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0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2" t="8561" r="7647" b="6318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00" t="6221" r="9445" b="34946"/>
          <a:stretch/>
        </p:blipFill>
        <p:spPr>
          <a:xfrm>
            <a:off x="145992" y="1202723"/>
            <a:ext cx="4539050" cy="500983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20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8" r="8370"/>
          <a:stretch/>
        </p:blipFill>
        <p:spPr>
          <a:xfrm>
            <a:off x="292318" y="804334"/>
            <a:ext cx="5254991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5695A2-0032-31BD-E0FB-20694A66E2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0" t="15542" r="9715" b="12962"/>
          <a:stretch/>
        </p:blipFill>
        <p:spPr>
          <a:xfrm>
            <a:off x="18032" y="1843215"/>
            <a:ext cx="5273967" cy="31715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1999" y="1304821"/>
            <a:ext cx="6797372" cy="424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6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3" r="9463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5810" y="1394457"/>
            <a:ext cx="6510537" cy="40690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239E20-52FA-B007-47B3-FC2B59E8E3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1" t="13845" r="13315" b="13927"/>
          <a:stretch/>
        </p:blipFill>
        <p:spPr>
          <a:xfrm>
            <a:off x="524932" y="1189681"/>
            <a:ext cx="4419601" cy="44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6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5C5B44-3CC6-BF5B-EEC7-04CF9D2927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5047" r="13619" b="14828"/>
          <a:stretch/>
        </p:blipFill>
        <p:spPr>
          <a:xfrm>
            <a:off x="234291" y="1357386"/>
            <a:ext cx="4745888" cy="42342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0179" y="1146235"/>
            <a:ext cx="7112642" cy="44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AF3297-857E-D1B7-9B0C-20458DE6E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0" y="1304925"/>
            <a:ext cx="86106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301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terms/"/>
    <ds:schemaRef ds:uri="http://purl.org/dc/dcmitype/"/>
    <ds:schemaRef ds:uri="680405e6-b67e-4188-afe9-1f6c4cc802d0"/>
    <ds:schemaRef ds:uri="5a0a5fd8-e554-4dec-ae9e-1a78583e7e41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906</TotalTime>
  <Words>187</Words>
  <Application>Microsoft Office PowerPoint</Application>
  <PresentationFormat>Widescreen</PresentationFormat>
  <Paragraphs>55</Paragraphs>
  <Slides>3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3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Database Entity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UI Design – Direct Messages</vt:lpstr>
      <vt:lpstr>Database Entity – Direct Messages</vt:lpstr>
      <vt:lpstr>UI Design – Meeting</vt:lpstr>
      <vt:lpstr>Database Entity – Meeting</vt:lpstr>
      <vt:lpstr>UI Design – Files</vt:lpstr>
      <vt:lpstr>UI Design – Files</vt:lpstr>
      <vt:lpstr>UI Design – Files</vt:lpstr>
      <vt:lpstr>Database Entity – Files</vt:lpstr>
      <vt:lpstr>UI Design – Manage ticket</vt:lpstr>
      <vt:lpstr>Database Entity – Manage Ticket</vt:lpstr>
      <vt:lpstr>UI Design – Preferences</vt:lpstr>
      <vt:lpstr>Database Entity – Preferences</vt:lpstr>
      <vt:lpstr>UI Design – Calendar</vt:lpstr>
      <vt:lpstr>UI Design – Calendar</vt:lpstr>
      <vt:lpstr>UI Design – Calendar</vt:lpstr>
      <vt:lpstr>Database Entity – Calendar</vt:lpstr>
      <vt:lpstr>UI Design – Activity </vt:lpstr>
      <vt:lpstr>Database Entity – Activity 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2</cp:revision>
  <dcterms:created xsi:type="dcterms:W3CDTF">2023-03-02T06:20:39Z</dcterms:created>
  <dcterms:modified xsi:type="dcterms:W3CDTF">2024-06-20T07:1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